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2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75612353567625E-2"/>
          <c:y val="2.516940948693127E-2"/>
          <c:w val="0.97784877529286474"/>
          <c:h val="0.94966118102613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89D-43F9-A28D-2EB14E02EA88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89D-43F9-A28D-2EB14E02EA88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36332515</c:v>
                </c:pt>
                <c:pt idx="1">
                  <c:v>35331631</c:v>
                </c:pt>
                <c:pt idx="2">
                  <c:v>35196929</c:v>
                </c:pt>
                <c:pt idx="3">
                  <c:v>38323916</c:v>
                </c:pt>
                <c:pt idx="4">
                  <c:v>52872868</c:v>
                </c:pt>
                <c:pt idx="5">
                  <c:v>67453171</c:v>
                </c:pt>
                <c:pt idx="6">
                  <c:v>91944329</c:v>
                </c:pt>
                <c:pt idx="7">
                  <c:v>252452562</c:v>
                </c:pt>
                <c:pt idx="8">
                  <c:v>2827468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9D-43F9-A28D-2EB14E02EA88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29376468</c:v>
                </c:pt>
                <c:pt idx="1">
                  <c:v>35359696</c:v>
                </c:pt>
                <c:pt idx="2">
                  <c:v>39087787</c:v>
                </c:pt>
                <c:pt idx="3">
                  <c:v>48558253</c:v>
                </c:pt>
                <c:pt idx="4">
                  <c:v>68881232</c:v>
                </c:pt>
                <c:pt idx="5">
                  <c:v>94479591</c:v>
                </c:pt>
                <c:pt idx="6">
                  <c:v>118432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9D-43F9-A28D-2EB14E02EA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27527552"/>
        <c:axId val="1"/>
      </c:barChart>
      <c:catAx>
        <c:axId val="327527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  <a:sym typeface="+mn-lt"/>
              </a:defRPr>
            </a:pPr>
            <a:endParaRPr lang="zh-CN"/>
          </a:p>
        </c:txPr>
        <c:crossAx val="327527552"/>
        <c:crosses val="min"/>
        <c:crossBetween val="between"/>
        <c:majorUnit val="50000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6FF3DD-0BC2-4DA0-96DE-4069CB53F2FE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284B19-3611-4DB5-84E5-461F3F48C79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0931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9437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46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6627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396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67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28508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92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091173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slideLayout" Target="../slideLayouts/slideLayout5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image" Target="../media/image4.emf"/><Relationship Id="rId5" Type="http://schemas.openxmlformats.org/officeDocument/2006/relationships/tags" Target="../tags/tag8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notesSlide" Target="../notesSlides/notesSlide1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chart" Target="../charts/chart1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57" imgW="349" imgH="350" progId="TCLayout.ActiveDocument.1">
                  <p:embed/>
                </p:oleObj>
              </mc:Choice>
              <mc:Fallback>
                <p:oleObj name="think-cell 幻灯片" r:id="rId5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797C923-9F7B-153F-A9FD-FB3D74C6416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8199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lumns, bar, bars, think-cell, chart, charts, graph, graphs, comment</a:t>
            </a:r>
          </a:p>
        </p:txBody>
      </p:sp>
      <p:graphicFrame>
        <p:nvGraphicFramePr>
          <p:cNvPr id="67" name="Chart 3">
            <a:extLst>
              <a:ext uri="{FF2B5EF4-FFF2-40B4-BE49-F238E27FC236}">
                <a16:creationId xmlns:a16="http://schemas.microsoft.com/office/drawing/2014/main" id="{C8582285-62CF-48A1-A26D-19EBEFBD296E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782638" y="2222500"/>
          <a:ext cx="7453312" cy="3279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>
        <p:nvSpPr>
          <p:cNvPr id="16" name="Rectangle 148">
            <a:extLst>
              <a:ext uri="{FF2B5EF4-FFF2-40B4-BE49-F238E27FC236}">
                <a16:creationId xmlns:a16="http://schemas.microsoft.com/office/drawing/2014/main" id="{95913313-EABA-A474-5144-5F556FE1552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73087" y="5329238"/>
            <a:ext cx="1158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4A923A-D948-4A39-BC56-9CBB2DED64D5}" type="datetime'0''''''''''''''''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64" name="Rectangle 149">
            <a:extLst>
              <a:ext uri="{FF2B5EF4-FFF2-40B4-BE49-F238E27FC236}">
                <a16:creationId xmlns:a16="http://schemas.microsoft.com/office/drawing/2014/main" id="{CDF04F5A-3AC9-9140-6C5C-08E36222AF1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60375" y="4810125"/>
            <a:ext cx="2286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758F47-056F-4901-A2E3-B5FCB70B01C3}" type="datetime'''''''''''5''''''''''''''''''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66" name="Rectangle 150">
            <a:extLst>
              <a:ext uri="{FF2B5EF4-FFF2-40B4-BE49-F238E27FC236}">
                <a16:creationId xmlns:a16="http://schemas.microsoft.com/office/drawing/2014/main" id="{318732A0-2590-4255-DFC3-E1A287C95DF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82587" y="4291013"/>
            <a:ext cx="30638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C2EE596-84F2-43D8-87A6-24AE3DCD796C}" type="datetime'''''1''''''''0''''''''''''''0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68" name="Rectangle 151">
            <a:extLst>
              <a:ext uri="{FF2B5EF4-FFF2-40B4-BE49-F238E27FC236}">
                <a16:creationId xmlns:a16="http://schemas.microsoft.com/office/drawing/2014/main" id="{1D34BA56-9B0F-0106-1FBD-D6D0DAA9714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385763" y="3771900"/>
            <a:ext cx="3032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1DCDB6-04EB-4E33-89D5-096B87D1F7F0}" type="datetime'''1''''''''''''5''''0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69" name="Rectangle 152">
            <a:extLst>
              <a:ext uri="{FF2B5EF4-FFF2-40B4-BE49-F238E27FC236}">
                <a16:creationId xmlns:a16="http://schemas.microsoft.com/office/drawing/2014/main" id="{E905DD74-3073-650F-71F6-E4949098693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46074" y="3252788"/>
            <a:ext cx="34290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510204D-9AAE-40D2-964A-DB00AA6F557F}" type="datetime'''''''''''''''''''''2''''0''''''''''''''''0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5" name="Rectangle 153">
            <a:extLst>
              <a:ext uri="{FF2B5EF4-FFF2-40B4-BE49-F238E27FC236}">
                <a16:creationId xmlns:a16="http://schemas.microsoft.com/office/drawing/2014/main" id="{922E217C-C23C-738A-A2CF-4725DC0D2A1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49250" y="2733675"/>
            <a:ext cx="3397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28A4B4-1D40-45E6-B35E-60F316E7AE27}" type="datetime'''''2''''''''''''5''''0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70" name="Rectangle 154">
            <a:extLst>
              <a:ext uri="{FF2B5EF4-FFF2-40B4-BE49-F238E27FC236}">
                <a16:creationId xmlns:a16="http://schemas.microsoft.com/office/drawing/2014/main" id="{9F1E85FB-3EDC-4E2E-7DAB-91FFE80701DB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47663" y="2214563"/>
            <a:ext cx="341313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C0F38D3-8BE8-4B0F-A926-851E501DC1D8}" type="datetime'''''''3''0''''''''''''0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cxnSp>
        <p:nvCxnSpPr>
          <p:cNvPr id="71" name="Straight Connector 10">
            <a:extLst>
              <a:ext uri="{FF2B5EF4-FFF2-40B4-BE49-F238E27FC236}">
                <a16:creationId xmlns:a16="http://schemas.microsoft.com/office/drawing/2014/main" id="{B61CC82B-F6D6-514F-CAEB-D905BE3C0D37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1270000" y="2816225"/>
            <a:ext cx="4859338" cy="1501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53">
            <a:extLst>
              <a:ext uri="{FF2B5EF4-FFF2-40B4-BE49-F238E27FC236}">
                <a16:creationId xmlns:a16="http://schemas.microsoft.com/office/drawing/2014/main" id="{1112B99C-9CB1-182D-54E6-DE3086D1F6CE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V="1">
            <a:off x="6938963" y="2019300"/>
            <a:ext cx="0" cy="503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54">
            <a:extLst>
              <a:ext uri="{FF2B5EF4-FFF2-40B4-BE49-F238E27FC236}">
                <a16:creationId xmlns:a16="http://schemas.microsoft.com/office/drawing/2014/main" id="{DB88A473-E16E-7B23-DB0B-5E44A7BC38B4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6938963" y="2019300"/>
            <a:ext cx="809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55">
            <a:extLst>
              <a:ext uri="{FF2B5EF4-FFF2-40B4-BE49-F238E27FC236}">
                <a16:creationId xmlns:a16="http://schemas.microsoft.com/office/drawing/2014/main" id="{2C92BCC4-0BE2-A585-B2B3-5EEFB25BDF4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7748588" y="2019300"/>
            <a:ext cx="0" cy="188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8" name="Rectangle 59">
            <a:extLst>
              <a:ext uri="{FF2B5EF4-FFF2-40B4-BE49-F238E27FC236}">
                <a16:creationId xmlns:a16="http://schemas.microsoft.com/office/drawing/2014/main" id="{1FFC3F17-0707-817C-CCF7-13D63D1706CA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057275" y="5478463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75" name="Master text box">
            <a:extLst>
              <a:ext uri="{FF2B5EF4-FFF2-40B4-BE49-F238E27FC236}">
                <a16:creationId xmlns:a16="http://schemas.microsoft.com/office/drawing/2014/main" id="{9C14D628-31D1-3B5C-3566-3B43BBAA2D45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1862138" y="4762500"/>
            <a:ext cx="43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27CAD789-B717-48E0-8B44-1E32D9525E29}" type="datetime'''3''''''''''''''''''''5''''''''.''''''''''''''''''4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35.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76" name="Master text box">
            <a:extLst>
              <a:ext uri="{FF2B5EF4-FFF2-40B4-BE49-F238E27FC236}">
                <a16:creationId xmlns:a16="http://schemas.microsoft.com/office/drawing/2014/main" id="{1F2BCA7A-54D4-8B91-1227-22B52F9D00D7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1863725" y="5129213"/>
            <a:ext cx="4318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A97F0917-CFDD-4FDA-8E5D-E8F09D8329AE}" type="datetime'''''''''3''''''''''''''''''5''''''.''''''''''''''''''''''''3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35.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77" name="Rectangle 60">
            <a:extLst>
              <a:ext uri="{FF2B5EF4-FFF2-40B4-BE49-F238E27FC236}">
                <a16:creationId xmlns:a16="http://schemas.microsoft.com/office/drawing/2014/main" id="{BB7BF792-FA3C-497D-EF4C-4D27239BE529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874838" y="5478463"/>
            <a:ext cx="4111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year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78" name="Master text box">
            <a:extLst>
              <a:ext uri="{FF2B5EF4-FFF2-40B4-BE49-F238E27FC236}">
                <a16:creationId xmlns:a16="http://schemas.microsoft.com/office/drawing/2014/main" id="{C71D92C1-5824-3F32-4FE9-5B9E083318FB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2692400" y="4745038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36641D15-59DA-4467-B713-74E2D8D3430D}" type="datetime'''''''''''3''''''''9''''''''''''''''''.''''''1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39.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79" name="Master text box">
            <a:extLst>
              <a:ext uri="{FF2B5EF4-FFF2-40B4-BE49-F238E27FC236}">
                <a16:creationId xmlns:a16="http://schemas.microsoft.com/office/drawing/2014/main" id="{F3338C4B-3C5D-0AB4-6F36-AE1AA90C7CCC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673350" y="5130800"/>
            <a:ext cx="4333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89CCCDEB-B4E8-469D-BF39-1F20FF9C95BD}" type="datetime'''3''''''''''''''''''''''''''''''''''5.''''''''''''2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35.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80" name="Rectangle 61">
            <a:extLst>
              <a:ext uri="{FF2B5EF4-FFF2-40B4-BE49-F238E27FC236}">
                <a16:creationId xmlns:a16="http://schemas.microsoft.com/office/drawing/2014/main" id="{C08AE803-1525-368E-6864-3ED3CA395416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2674938" y="5478463"/>
            <a:ext cx="428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year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81" name="Master text box">
            <a:extLst>
              <a:ext uri="{FF2B5EF4-FFF2-40B4-BE49-F238E27FC236}">
                <a16:creationId xmlns:a16="http://schemas.microsoft.com/office/drawing/2014/main" id="{1B676C32-8AFC-2BBA-93FA-A3059E88B00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3479800" y="4662488"/>
            <a:ext cx="4397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AD5F3E66-8389-4E94-9B75-55BC10C31F76}" type="datetime'''''''''''''4''8''''.''''''''6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48.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82" name="Master text box">
            <a:extLst>
              <a:ext uri="{FF2B5EF4-FFF2-40B4-BE49-F238E27FC236}">
                <a16:creationId xmlns:a16="http://schemas.microsoft.com/office/drawing/2014/main" id="{876DFADD-AE96-05A7-B03A-11D15AE2C347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3482975" y="5113338"/>
            <a:ext cx="4333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2D3E8D0F-9346-4D53-904C-E88F31474C5A}" type="datetime'''''''''''''''''''''''''''''38''''''.3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38.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83" name="Rectangle 62">
            <a:extLst>
              <a:ext uri="{FF2B5EF4-FFF2-40B4-BE49-F238E27FC236}">
                <a16:creationId xmlns:a16="http://schemas.microsoft.com/office/drawing/2014/main" id="{41F999FE-1F09-D78B-12A0-FDBF7C02F19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486150" y="5478463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year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84" name="Master text box">
            <a:extLst>
              <a:ext uri="{FF2B5EF4-FFF2-40B4-BE49-F238E27FC236}">
                <a16:creationId xmlns:a16="http://schemas.microsoft.com/office/drawing/2014/main" id="{DB175A00-E406-160C-D7B2-715881A54363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291013" y="4406900"/>
            <a:ext cx="43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18306701-37E2-4BFA-8F12-0253EB3A0412}" type="datetime'''''''''''''''''''''''''''''''6''''''8''''''''''''''.9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68.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85" name="Master text box">
            <a:extLst>
              <a:ext uri="{FF2B5EF4-FFF2-40B4-BE49-F238E27FC236}">
                <a16:creationId xmlns:a16="http://schemas.microsoft.com/office/drawing/2014/main" id="{CCD5DA6E-70B7-9A34-B423-DBC02CA2169C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291013" y="5038725"/>
            <a:ext cx="4349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EB605EC9-2F70-4FD0-B74E-6C9C703A807B}" type="datetime'''''''5''''''''''''2''''''''''''.''''''''''9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52.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88" name="Master text box">
            <a:extLst>
              <a:ext uri="{FF2B5EF4-FFF2-40B4-BE49-F238E27FC236}">
                <a16:creationId xmlns:a16="http://schemas.microsoft.com/office/drawing/2014/main" id="{8357BDC3-21CB-41AE-C436-24E834F2129D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5110163" y="4962525"/>
            <a:ext cx="420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7B0A0A29-FB43-43A4-A3EA-3AD02123FDA6}" type="datetime'''''''''''''6''''''''''''''''''''''''7''''''''''''.''5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67.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89" name="Rectangle 128">
            <a:extLst>
              <a:ext uri="{FF2B5EF4-FFF2-40B4-BE49-F238E27FC236}">
                <a16:creationId xmlns:a16="http://schemas.microsoft.com/office/drawing/2014/main" id="{8DA3E9C9-1109-BCCB-2063-E88C7AB8B1AB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106988" y="5478463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year_6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90" name="Master text box">
            <a:extLst>
              <a:ext uri="{FF2B5EF4-FFF2-40B4-BE49-F238E27FC236}">
                <a16:creationId xmlns:a16="http://schemas.microsoft.com/office/drawing/2014/main" id="{75F75AA4-966C-3346-D872-12DDB22F794C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5891213" y="3743325"/>
            <a:ext cx="477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89F380CE-529F-45B8-A1E9-C5C3AFFC23A5}" type="datetime'''''''''''''''1''''1''8''''''''''''.''4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118.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91" name="Master text box">
            <a:extLst>
              <a:ext uri="{FF2B5EF4-FFF2-40B4-BE49-F238E27FC236}">
                <a16:creationId xmlns:a16="http://schemas.microsoft.com/office/drawing/2014/main" id="{CB5FCDDA-E0B4-F878-E700-70B3D29275F4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5930900" y="4835525"/>
            <a:ext cx="396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F32E971A-5FB3-412C-96FB-34BBD0637A5A}" type="datetime'''''''''''''''''''''''''''9''''''''''''1''''''''''''''.9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91.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92" name="Rectangle 129">
            <a:extLst>
              <a:ext uri="{FF2B5EF4-FFF2-40B4-BE49-F238E27FC236}">
                <a16:creationId xmlns:a16="http://schemas.microsoft.com/office/drawing/2014/main" id="{C768C77D-EAA2-E5D7-2F1A-8AC47A43F730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899150" y="5478463"/>
            <a:ext cx="4619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year_7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93" name="Rectangle 130">
            <a:extLst>
              <a:ext uri="{FF2B5EF4-FFF2-40B4-BE49-F238E27FC236}">
                <a16:creationId xmlns:a16="http://schemas.microsoft.com/office/drawing/2014/main" id="{D087D013-1949-CBE3-4579-E4AB84451CEF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630987" y="5478463"/>
            <a:ext cx="6175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year_8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94" name="Rectangle 131">
            <a:extLst>
              <a:ext uri="{FF2B5EF4-FFF2-40B4-BE49-F238E27FC236}">
                <a16:creationId xmlns:a16="http://schemas.microsoft.com/office/drawing/2014/main" id="{1C61E5A7-9D0B-8B88-92BB-1D0AA49DDB60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437437" y="5478463"/>
            <a:ext cx="622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year_9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96" name="Master text box">
            <a:extLst>
              <a:ext uri="{FF2B5EF4-FFF2-40B4-BE49-F238E27FC236}">
                <a16:creationId xmlns:a16="http://schemas.microsoft.com/office/drawing/2014/main" id="{71AF4229-10B3-0B5F-A4E3-226A9C8CD56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052513" y="4783138"/>
            <a:ext cx="43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465339EF-3FE7-42D7-B931-CF5F9FBCF395}" type="datetime'''''''''''''''''''''2''''''''''''9.''''4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29.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97" name="Master text box">
            <a:extLst>
              <a:ext uri="{FF2B5EF4-FFF2-40B4-BE49-F238E27FC236}">
                <a16:creationId xmlns:a16="http://schemas.microsoft.com/office/drawing/2014/main" id="{0FC05ECB-A2B7-9489-C1C3-E1CF7CDA6DD5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055688" y="5124450"/>
            <a:ext cx="430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F0783A89-A7B1-4B82-97C6-ED27A43A12D0}" type="datetime'36''''.3''''''''''''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36.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86" name="Rectangle 127">
            <a:extLst>
              <a:ext uri="{FF2B5EF4-FFF2-40B4-BE49-F238E27FC236}">
                <a16:creationId xmlns:a16="http://schemas.microsoft.com/office/drawing/2014/main" id="{D21B9D12-635F-3476-A15B-894314B462E0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4275138" y="5478463"/>
            <a:ext cx="4667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year_5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99" name="Master text box">
            <a:extLst>
              <a:ext uri="{FF2B5EF4-FFF2-40B4-BE49-F238E27FC236}">
                <a16:creationId xmlns:a16="http://schemas.microsoft.com/office/drawing/2014/main" id="{206EFEDD-9C71-0892-C377-DBAE6AECD433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060450" y="4498975"/>
            <a:ext cx="420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year_1_total_number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00" name="Master text box">
            <a:extLst>
              <a:ext uri="{FF2B5EF4-FFF2-40B4-BE49-F238E27FC236}">
                <a16:creationId xmlns:a16="http://schemas.microsoft.com/office/drawing/2014/main" id="{58D5F6BE-EF3A-6D31-F76E-4E925E99822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874838" y="4448175"/>
            <a:ext cx="4095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21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01" name="Master text box">
            <a:extLst>
              <a:ext uri="{FF2B5EF4-FFF2-40B4-BE49-F238E27FC236}">
                <a16:creationId xmlns:a16="http://schemas.microsoft.com/office/drawing/2014/main" id="{197EFC2B-9F67-D05C-F3CE-2205455ED49D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2679700" y="4410075"/>
            <a:ext cx="420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3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08" name="Master text box">
            <a:extLst>
              <a:ext uri="{FF2B5EF4-FFF2-40B4-BE49-F238E27FC236}">
                <a16:creationId xmlns:a16="http://schemas.microsoft.com/office/drawing/2014/main" id="{D04B36D9-DAED-2829-4FBA-F7F63D9CC791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3481388" y="4279900"/>
            <a:ext cx="43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4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02" name="Master text box">
            <a:extLst>
              <a:ext uri="{FF2B5EF4-FFF2-40B4-BE49-F238E27FC236}">
                <a16:creationId xmlns:a16="http://schemas.microsoft.com/office/drawing/2014/main" id="{02D50168-A220-6D43-2B1B-209FDDB32872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100638" y="4122738"/>
            <a:ext cx="438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0B0879AB-A5C1-4B30-A246-8B1A59D987FB}" type="datetime'9''4''''''''''''''''''''''.''''''''''''5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94.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04" name="Master text box">
            <a:extLst>
              <a:ext uri="{FF2B5EF4-FFF2-40B4-BE49-F238E27FC236}">
                <a16:creationId xmlns:a16="http://schemas.microsoft.com/office/drawing/2014/main" id="{2A17DAF8-A187-746F-9654-734ABE4F64F6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084763" y="3500438"/>
            <a:ext cx="471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6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05" name="Master text box">
            <a:extLst>
              <a:ext uri="{FF2B5EF4-FFF2-40B4-BE49-F238E27FC236}">
                <a16:creationId xmlns:a16="http://schemas.microsoft.com/office/drawing/2014/main" id="{C20A69E2-7EFF-CD7D-FBA5-B700F0119DB7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5872162" y="2997200"/>
            <a:ext cx="5159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7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06" name="Master text box">
            <a:extLst>
              <a:ext uri="{FF2B5EF4-FFF2-40B4-BE49-F238E27FC236}">
                <a16:creationId xmlns:a16="http://schemas.microsoft.com/office/drawing/2014/main" id="{B24306D8-F895-0A9F-7CDE-C5CE7A1A50DF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6665912" y="2560638"/>
            <a:ext cx="547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8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fld id="{A9037758-A1B2-4B4A-9521-A788E5E7CE27}" type="datetime'''''''''''2''''''5''''2.''''''''5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75000"/>
                <a:buFont typeface="Arial" panose="020B0604020202020204" pitchFamily="34" charset="0"/>
                <a:buNone/>
                <a:tabLst/>
                <a:defRPr/>
              </a:pPr>
              <a:t>252.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07" name="Master text box">
            <a:extLst>
              <a:ext uri="{FF2B5EF4-FFF2-40B4-BE49-F238E27FC236}">
                <a16:creationId xmlns:a16="http://schemas.microsoft.com/office/drawing/2014/main" id="{E1E552DA-7602-8274-3FD2-417EA963F47B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7481887" y="2246313"/>
            <a:ext cx="533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9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03" name="Master text box">
            <a:extLst>
              <a:ext uri="{FF2B5EF4-FFF2-40B4-BE49-F238E27FC236}">
                <a16:creationId xmlns:a16="http://schemas.microsoft.com/office/drawing/2014/main" id="{7ECCB4FA-3543-4AB3-DB63-A03CEC6A2661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4271963" y="3917950"/>
            <a:ext cx="4746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year_5_total_number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09" name="Master text box">
            <a:extLst>
              <a:ext uri="{FF2B5EF4-FFF2-40B4-BE49-F238E27FC236}">
                <a16:creationId xmlns:a16="http://schemas.microsoft.com/office/drawing/2014/main" id="{2A063B69-E572-2B7A-B139-D46C5CCAB475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3235325" y="3265488"/>
            <a:ext cx="928688" cy="603250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AGR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10" name="Oval 52">
            <a:extLst>
              <a:ext uri="{FF2B5EF4-FFF2-40B4-BE49-F238E27FC236}">
                <a16:creationId xmlns:a16="http://schemas.microsoft.com/office/drawing/2014/main" id="{4C4D0294-F4E0-5198-5807-F643E74AE59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7118350" y="1868488"/>
            <a:ext cx="452438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CAGR_2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11" name="Rectangle 138">
            <a:extLst>
              <a:ext uri="{FF2B5EF4-FFF2-40B4-BE49-F238E27FC236}">
                <a16:creationId xmlns:a16="http://schemas.microsoft.com/office/drawing/2014/main" id="{696B2F82-2308-5F9D-6590-C397C01C5224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605088" y="57785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2" name="Rectangle 139">
            <a:extLst>
              <a:ext uri="{FF2B5EF4-FFF2-40B4-BE49-F238E27FC236}">
                <a16:creationId xmlns:a16="http://schemas.microsoft.com/office/drawing/2014/main" id="{19523DF4-C582-E40F-9E2E-C848644A1462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4008438" y="57785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3" name="Rectangle 140">
            <a:extLst>
              <a:ext uri="{FF2B5EF4-FFF2-40B4-BE49-F238E27FC236}">
                <a16:creationId xmlns:a16="http://schemas.microsoft.com/office/drawing/2014/main" id="{C9B70778-DEB5-1038-B67B-BE0A3845FD33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5408613" y="57785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4" name="Master text box">
            <a:extLst>
              <a:ext uri="{FF2B5EF4-FFF2-40B4-BE49-F238E27FC236}">
                <a16:creationId xmlns:a16="http://schemas.microsoft.com/office/drawing/2014/main" id="{A0702B83-0A85-5B64-EAA6-BE28FF97C88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2906713" y="5773738"/>
            <a:ext cx="10001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15" name="Master text box">
            <a:extLst>
              <a:ext uri="{FF2B5EF4-FFF2-40B4-BE49-F238E27FC236}">
                <a16:creationId xmlns:a16="http://schemas.microsoft.com/office/drawing/2014/main" id="{7BB974E4-0B7B-F5AA-C47F-64E59FEDC4FA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310063" y="5773738"/>
            <a:ext cx="9969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116" name="Master text box">
            <a:extLst>
              <a:ext uri="{FF2B5EF4-FFF2-40B4-BE49-F238E27FC236}">
                <a16:creationId xmlns:a16="http://schemas.microsoft.com/office/drawing/2014/main" id="{874C8F0A-1516-A41C-6814-6828663E1A73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5710238" y="5773738"/>
            <a:ext cx="9588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+mn-lt"/>
            </a:endParaRPr>
          </a:p>
        </p:txBody>
      </p:sp>
      <p:sp>
        <p:nvSpPr>
          <p:cNvPr id="4" name="Rechteck 137">
            <a:extLst>
              <a:ext uri="{FF2B5EF4-FFF2-40B4-BE49-F238E27FC236}">
                <a16:creationId xmlns:a16="http://schemas.microsoft.com/office/drawing/2014/main" id="{1CB4C388-C2B3-2D3F-4441-6B26FF20437F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6" name="tc_columnheader">
            <a:extLst>
              <a:ext uri="{FF2B5EF4-FFF2-40B4-BE49-F238E27FC236}">
                <a16:creationId xmlns:a16="http://schemas.microsoft.com/office/drawing/2014/main" id="{08979EB9-BDA9-F3F0-9C3F-88C6F9F5C531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7" name="tc_columnhead">
              <a:extLst>
                <a:ext uri="{FF2B5EF4-FFF2-40B4-BE49-F238E27FC236}">
                  <a16:creationId xmlns:a16="http://schemas.microsoft.com/office/drawing/2014/main" id="{F2E80B6B-BD08-F517-E05D-DCFA8197216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 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8" name="tc_columnheadline">
              <a:extLst>
                <a:ext uri="{FF2B5EF4-FFF2-40B4-BE49-F238E27FC236}">
                  <a16:creationId xmlns:a16="http://schemas.microsoft.com/office/drawing/2014/main" id="{AE6AC1F3-3201-B907-762E-6FDFF40586D2}"/>
                </a:ext>
              </a:extLst>
            </p:cNvPr>
            <p:cNvCxnSpPr>
              <a:cxnSpLocks/>
              <a:stCxn id="7" idx="4"/>
              <a:endCxn id="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tc_columnheader">
            <a:extLst>
              <a:ext uri="{FF2B5EF4-FFF2-40B4-BE49-F238E27FC236}">
                <a16:creationId xmlns:a16="http://schemas.microsoft.com/office/drawing/2014/main" id="{0D3D6EA2-500E-89B5-85E2-4C0F098C0C36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1" name="tc_columnhead">
              <a:extLst>
                <a:ext uri="{FF2B5EF4-FFF2-40B4-BE49-F238E27FC236}">
                  <a16:creationId xmlns:a16="http://schemas.microsoft.com/office/drawing/2014/main" id="{13AD98D5-B133-B69D-8F74-209EA52F72AD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2" name="tc_columnheadline">
              <a:extLst>
                <a:ext uri="{FF2B5EF4-FFF2-40B4-BE49-F238E27FC236}">
                  <a16:creationId xmlns:a16="http://schemas.microsoft.com/office/drawing/2014/main" id="{8AC26668-8CE8-8CCD-39DB-0BFB70ECCBA8}"/>
                </a:ext>
              </a:extLst>
            </p:cNvPr>
            <p:cNvCxnSpPr>
              <a:cxnSpLocks/>
              <a:stCxn id="11" idx="4"/>
              <a:endCxn id="11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18">
            <a:extLst>
              <a:ext uri="{FF2B5EF4-FFF2-40B4-BE49-F238E27FC236}">
                <a16:creationId xmlns:a16="http://schemas.microsoft.com/office/drawing/2014/main" id="{A4A19741-A6A6-9442-6A5B-E25703F944D2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009D23C1-89AA-4231-A7EB-583A2FB7F1E0}"/>
              </a:ext>
            </a:extLst>
          </p:cNvPr>
          <p:cNvSpPr txBox="1"/>
          <p:nvPr/>
        </p:nvSpPr>
        <p:spPr>
          <a:xfrm>
            <a:off x="4725988" y="701254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入数字</a:t>
            </a:r>
          </a:p>
        </p:txBody>
      </p:sp>
    </p:spTree>
    <p:extLst>
      <p:ext uri="{BB962C8B-B14F-4D97-AF65-F5344CB8AC3E}">
        <p14:creationId xmlns:p14="http://schemas.microsoft.com/office/powerpoint/2010/main" val="2701168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skQ5cvq5XB3.JE6Q4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N2ZgehbvnqMh5RP2rb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zzYqDGSaLSWjlsDL35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PxYUcz_UQOD4Yjnmx4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sw_zP0IuzDdrBEM1h.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3t.INqa521hgV_Xd7Q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l1X9lUOmQfe3TsCqpC3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y4X2UUYGuxXlV2.NKo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vIYaY4GRq4dwFPJ9iU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VJnTbGexbWa2IxdDZe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TdnIr8pHqkVPWJzh8o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FG_Xdgekq7jwWfD4yP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bxPxT3QYjhUR960r1p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J9srY.xaViHSnOw9V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yke6wX5qtsUU1AglejR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oP8sBoJHC8BhyXrbD9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wvxeFI35PPrzxVEumi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jANoORLQ6J7qc7h6wp.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I0oR8qEfk2X5VIOsgO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X2MvCEYLjxVs7CY3ws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eDCUFB2a9SUCu6P8JC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viGK24LU4sodU5naYP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ESR1B9fJTGH72Z_v4b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2TapKVZHH2uwFCCQwR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1K00IjnxBo.1SM3mBsJ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42VvBm3w9n6jgP7JNd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sQXFGLgjlase3ldlYv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yr3lsoogrom2V_OJHd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xlG1wqvfSruuwttVWs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IFUTKdYs8nVoqZTKxR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_WBTXNfRCX9DhhKqya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8qKHz46gjexVHHrrpcP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dTM3nDC00EPMxL6aA5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HX7jqni7cZFlVjfseV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JMqd0z6RR6v3sk7_lz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WbcX8TY_bGXDMX.5Ds9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Q3oOoyCiAR6EaPfJku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Q0zD53C.lgk1OgblEQ6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sLwhwj4Iv.ObsMvEEwk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2_hrqjo4h3cI.dUcQx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Mn6kTmOZzGoxT6Euyt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p1sqtq8dZ.8qFALqMK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AJ1V0U80pKP_3BdII.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.AdUQ_eOfbixlBbK4T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6LWkhz9JsBxYdZvxz05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tFF2_XAN91pYlG_sA4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nD995wTsH6ob5U9vauC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eYJKTEfu.z1vwVP2he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b.TNe2U9eLoa1uG68X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wYaBy8VjUECk1bkxv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uS5ZRymoFr49WR27sm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ZH28.913syjwA_1BgNm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287</Words>
  <Application>Microsoft Office PowerPoint</Application>
  <PresentationFormat>宽屏</PresentationFormat>
  <Paragraphs>5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3</cp:revision>
  <dcterms:created xsi:type="dcterms:W3CDTF">2025-09-09T06:26:45Z</dcterms:created>
  <dcterms:modified xsi:type="dcterms:W3CDTF">2025-09-09T07:39:17Z</dcterms:modified>
</cp:coreProperties>
</file>